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24"/>
  </p:notesMasterIdLst>
  <p:handoutMasterIdLst>
    <p:handoutMasterId r:id="rId25"/>
  </p:handoutMasterIdLst>
  <p:sldIdLst>
    <p:sldId id="256" r:id="rId5"/>
    <p:sldId id="884" r:id="rId6"/>
    <p:sldId id="895" r:id="rId7"/>
    <p:sldId id="887" r:id="rId8"/>
    <p:sldId id="1299" r:id="rId9"/>
    <p:sldId id="1322" r:id="rId10"/>
    <p:sldId id="1323" r:id="rId11"/>
    <p:sldId id="1320" r:id="rId12"/>
    <p:sldId id="1324" r:id="rId13"/>
    <p:sldId id="1325" r:id="rId14"/>
    <p:sldId id="1326" r:id="rId15"/>
    <p:sldId id="1321" r:id="rId16"/>
    <p:sldId id="1302" r:id="rId17"/>
    <p:sldId id="1303" r:id="rId18"/>
    <p:sldId id="1228" r:id="rId19"/>
    <p:sldId id="1229" r:id="rId20"/>
    <p:sldId id="1304" r:id="rId21"/>
    <p:sldId id="1305" r:id="rId22"/>
    <p:sldId id="5870" r:id="rId23"/>
  </p:sldIdLst>
  <p:sldSz cx="9906000" cy="6858000" type="A4"/>
  <p:notesSz cx="6858000" cy="9144000"/>
  <p:defaultTextStyle>
    <a:defPPr>
      <a:defRPr lang="es-ES"/>
    </a:defPPr>
    <a:lvl1pPr marL="0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536433" rtl="0" eaLnBrk="1" latinLnBrk="0" hangingPunct="1">
      <a:defRPr sz="2112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0292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>
        <p:scale>
          <a:sx n="80" d="100"/>
          <a:sy n="80" d="100"/>
        </p:scale>
        <p:origin x="688" y="-392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e Sarkis" userId="e8826e32-598d-44e8-9752-b7fdf035a46f" providerId="ADAL" clId="{8C0BD2BA-78CE-483A-B158-D58CE946CF61}"/>
    <pc:docChg chg="undo custSel addSld delSld modSld">
      <pc:chgData name="Elie Sarkis" userId="e8826e32-598d-44e8-9752-b7fdf035a46f" providerId="ADAL" clId="{8C0BD2BA-78CE-483A-B158-D58CE946CF61}" dt="2022-09-23T06:50:31.176" v="133"/>
      <pc:docMkLst>
        <pc:docMk/>
      </pc:docMkLst>
      <pc:sldChg chg="delSp modSp mod modClrScheme chgLayout">
        <pc:chgData name="Elie Sarkis" userId="e8826e32-598d-44e8-9752-b7fdf035a46f" providerId="ADAL" clId="{8C0BD2BA-78CE-483A-B158-D58CE946CF61}" dt="2022-09-23T06:25:09.907" v="8" actId="14100"/>
        <pc:sldMkLst>
          <pc:docMk/>
          <pc:sldMk cId="751796680" sldId="256"/>
        </pc:sldMkLst>
        <pc:spChg chg="del">
          <ac:chgData name="Elie Sarkis" userId="e8826e32-598d-44e8-9752-b7fdf035a46f" providerId="ADAL" clId="{8C0BD2BA-78CE-483A-B158-D58CE946CF61}" dt="2022-09-23T06:24:59.363" v="5" actId="478"/>
          <ac:spMkLst>
            <pc:docMk/>
            <pc:sldMk cId="751796680" sldId="256"/>
            <ac:spMk id="4" creationId="{3A83DEC4-160F-8D45-928E-F904BB56AA6E}"/>
          </ac:spMkLst>
        </pc:spChg>
        <pc:spChg chg="mod">
          <ac:chgData name="Elie Sarkis" userId="e8826e32-598d-44e8-9752-b7fdf035a46f" providerId="ADAL" clId="{8C0BD2BA-78CE-483A-B158-D58CE946CF61}" dt="2022-09-23T06:25:09.907" v="8" actId="14100"/>
          <ac:spMkLst>
            <pc:docMk/>
            <pc:sldMk cId="751796680" sldId="256"/>
            <ac:spMk id="5" creationId="{1A12168F-BBB5-C845-B138-AB550A9E1E14}"/>
          </ac:spMkLst>
        </pc:spChg>
      </pc:sldChg>
      <pc:sldChg chg="modSp mod">
        <pc:chgData name="Elie Sarkis" userId="e8826e32-598d-44e8-9752-b7fdf035a46f" providerId="ADAL" clId="{8C0BD2BA-78CE-483A-B158-D58CE946CF61}" dt="2022-09-23T06:25:37.332" v="21" actId="1076"/>
        <pc:sldMkLst>
          <pc:docMk/>
          <pc:sldMk cId="4009004570" sldId="884"/>
        </pc:sldMkLst>
        <pc:spChg chg="mod">
          <ac:chgData name="Elie Sarkis" userId="e8826e32-598d-44e8-9752-b7fdf035a46f" providerId="ADAL" clId="{8C0BD2BA-78CE-483A-B158-D58CE946CF61}" dt="2022-09-23T06:25:35.328" v="20" actId="1076"/>
          <ac:spMkLst>
            <pc:docMk/>
            <pc:sldMk cId="4009004570" sldId="884"/>
            <ac:spMk id="2" creationId="{B51071B7-9A35-4887-AB94-CF231170E501}"/>
          </ac:spMkLst>
        </pc:spChg>
        <pc:picChg chg="mod">
          <ac:chgData name="Elie Sarkis" userId="e8826e32-598d-44e8-9752-b7fdf035a46f" providerId="ADAL" clId="{8C0BD2BA-78CE-483A-B158-D58CE946CF61}" dt="2022-09-23T06:25:37.332" v="21" actId="1076"/>
          <ac:picMkLst>
            <pc:docMk/>
            <pc:sldMk cId="4009004570" sldId="884"/>
            <ac:picMk id="1026" creationId="{4AA9B68D-F340-47CC-A3B9-F73D9C2A1901}"/>
          </ac:picMkLst>
        </pc:picChg>
      </pc:sldChg>
      <pc:sldChg chg="addSp delSp modSp mod modClrScheme chgLayout">
        <pc:chgData name="Elie Sarkis" userId="e8826e32-598d-44e8-9752-b7fdf035a46f" providerId="ADAL" clId="{8C0BD2BA-78CE-483A-B158-D58CE946CF61}" dt="2022-09-23T06:33:07.704" v="68" actId="478"/>
        <pc:sldMkLst>
          <pc:docMk/>
          <pc:sldMk cId="2685091983" sldId="887"/>
        </pc:sldMkLst>
        <pc:spChg chg="mod">
          <ac:chgData name="Elie Sarkis" userId="e8826e32-598d-44e8-9752-b7fdf035a46f" providerId="ADAL" clId="{8C0BD2BA-78CE-483A-B158-D58CE946CF61}" dt="2022-09-23T06:26:29.585" v="32" actId="20577"/>
          <ac:spMkLst>
            <pc:docMk/>
            <pc:sldMk cId="2685091983" sldId="887"/>
            <ac:spMk id="7" creationId="{22CC4A63-A8D5-4327-8681-D69AC53F2CAF}"/>
          </ac:spMkLst>
        </pc:spChg>
        <pc:spChg chg="mod">
          <ac:chgData name="Elie Sarkis" userId="e8826e32-598d-44e8-9752-b7fdf035a46f" providerId="ADAL" clId="{8C0BD2BA-78CE-483A-B158-D58CE946CF61}" dt="2022-09-23T06:32:34.606" v="64" actId="20577"/>
          <ac:spMkLst>
            <pc:docMk/>
            <pc:sldMk cId="2685091983" sldId="887"/>
            <ac:spMk id="9" creationId="{FE1C6040-AFEA-4C12-8C3A-3407CAF93398}"/>
          </ac:spMkLst>
        </pc:spChg>
        <pc:picChg chg="add mod">
          <ac:chgData name="Elie Sarkis" userId="e8826e32-598d-44e8-9752-b7fdf035a46f" providerId="ADAL" clId="{8C0BD2BA-78CE-483A-B158-D58CE946CF61}" dt="2022-09-23T06:32:36.892" v="65" actId="1076"/>
          <ac:picMkLst>
            <pc:docMk/>
            <pc:sldMk cId="2685091983" sldId="887"/>
            <ac:picMk id="2" creationId="{7E67A3B6-D606-5EB4-481E-A3DCFB8331C5}"/>
          </ac:picMkLst>
        </pc:picChg>
        <pc:picChg chg="del">
          <ac:chgData name="Elie Sarkis" userId="e8826e32-598d-44e8-9752-b7fdf035a46f" providerId="ADAL" clId="{8C0BD2BA-78CE-483A-B158-D58CE946CF61}" dt="2022-09-23T06:32:03.114" v="36" actId="478"/>
          <ac:picMkLst>
            <pc:docMk/>
            <pc:sldMk cId="2685091983" sldId="887"/>
            <ac:picMk id="3" creationId="{0E04B7B8-CD5F-43E9-8E18-AF0BE4D09AC1}"/>
          </ac:picMkLst>
        </pc:picChg>
        <pc:picChg chg="add del mod">
          <ac:chgData name="Elie Sarkis" userId="e8826e32-598d-44e8-9752-b7fdf035a46f" providerId="ADAL" clId="{8C0BD2BA-78CE-483A-B158-D58CE946CF61}" dt="2022-09-23T06:33:07.704" v="68" actId="478"/>
          <ac:picMkLst>
            <pc:docMk/>
            <pc:sldMk cId="2685091983" sldId="887"/>
            <ac:picMk id="4" creationId="{4177E638-A333-45DE-DD69-791A3C546F6C}"/>
          </ac:picMkLst>
        </pc:picChg>
      </pc:sldChg>
      <pc:sldChg chg="del">
        <pc:chgData name="Elie Sarkis" userId="e8826e32-598d-44e8-9752-b7fdf035a46f" providerId="ADAL" clId="{8C0BD2BA-78CE-483A-B158-D58CE946CF61}" dt="2022-09-23T06:33:37.916" v="71" actId="47"/>
        <pc:sldMkLst>
          <pc:docMk/>
          <pc:sldMk cId="2090367204" sldId="888"/>
        </pc:sldMkLst>
      </pc:sldChg>
      <pc:sldChg chg="del">
        <pc:chgData name="Elie Sarkis" userId="e8826e32-598d-44e8-9752-b7fdf035a46f" providerId="ADAL" clId="{8C0BD2BA-78CE-483A-B158-D58CE946CF61}" dt="2022-09-23T06:33:38.853" v="72" actId="47"/>
        <pc:sldMkLst>
          <pc:docMk/>
          <pc:sldMk cId="4032255907" sldId="889"/>
        </pc:sldMkLst>
      </pc:sldChg>
      <pc:sldChg chg="del">
        <pc:chgData name="Elie Sarkis" userId="e8826e32-598d-44e8-9752-b7fdf035a46f" providerId="ADAL" clId="{8C0BD2BA-78CE-483A-B158-D58CE946CF61}" dt="2022-09-23T06:33:39.720" v="73" actId="47"/>
        <pc:sldMkLst>
          <pc:docMk/>
          <pc:sldMk cId="2576403217" sldId="890"/>
        </pc:sldMkLst>
      </pc:sldChg>
      <pc:sldChg chg="modSp del mod chgLayout">
        <pc:chgData name="Elie Sarkis" userId="e8826e32-598d-44e8-9752-b7fdf035a46f" providerId="ADAL" clId="{8C0BD2BA-78CE-483A-B158-D58CE946CF61}" dt="2022-09-23T06:37:04.110" v="117" actId="47"/>
        <pc:sldMkLst>
          <pc:docMk/>
          <pc:sldMk cId="2756470277" sldId="892"/>
        </pc:sldMkLst>
        <pc:spChg chg="mod ord">
          <ac:chgData name="Elie Sarkis" userId="e8826e32-598d-44e8-9752-b7fdf035a46f" providerId="ADAL" clId="{8C0BD2BA-78CE-483A-B158-D58CE946CF61}" dt="2022-09-23T06:36:44.103" v="115" actId="700"/>
          <ac:spMkLst>
            <pc:docMk/>
            <pc:sldMk cId="2756470277" sldId="892"/>
            <ac:spMk id="7" creationId="{A5CECE6E-165D-4EF4-88CA-AAB04ED58B22}"/>
          </ac:spMkLst>
        </pc:spChg>
      </pc:sldChg>
      <pc:sldChg chg="del mod modClrScheme chgLayout">
        <pc:chgData name="Elie Sarkis" userId="e8826e32-598d-44e8-9752-b7fdf035a46f" providerId="ADAL" clId="{8C0BD2BA-78CE-483A-B158-D58CE946CF61}" dt="2022-09-23T06:37:05.787" v="118" actId="47"/>
        <pc:sldMkLst>
          <pc:docMk/>
          <pc:sldMk cId="214784184" sldId="893"/>
        </pc:sldMkLst>
      </pc:sldChg>
      <pc:sldChg chg="del mod modClrScheme chgLayout">
        <pc:chgData name="Elie Sarkis" userId="e8826e32-598d-44e8-9752-b7fdf035a46f" providerId="ADAL" clId="{8C0BD2BA-78CE-483A-B158-D58CE946CF61}" dt="2022-09-23T06:37:51.770" v="127" actId="47"/>
        <pc:sldMkLst>
          <pc:docMk/>
          <pc:sldMk cId="2164982965" sldId="894"/>
        </pc:sldMkLst>
      </pc:sldChg>
      <pc:sldChg chg="modSp mod modClrScheme chgLayout">
        <pc:chgData name="Elie Sarkis" userId="e8826e32-598d-44e8-9752-b7fdf035a46f" providerId="ADAL" clId="{8C0BD2BA-78CE-483A-B158-D58CE946CF61}" dt="2022-09-23T06:34:02.068" v="76" actId="1076"/>
        <pc:sldMkLst>
          <pc:docMk/>
          <pc:sldMk cId="3840465372" sldId="895"/>
        </pc:sldMkLst>
        <pc:spChg chg="mod ord">
          <ac:chgData name="Elie Sarkis" userId="e8826e32-598d-44e8-9752-b7fdf035a46f" providerId="ADAL" clId="{8C0BD2BA-78CE-483A-B158-D58CE946CF61}" dt="2022-09-23T06:34:02.068" v="76" actId="1076"/>
          <ac:spMkLst>
            <pc:docMk/>
            <pc:sldMk cId="3840465372" sldId="895"/>
            <ac:spMk id="5" creationId="{F3556FA7-47D1-4DF4-A8BF-75344C932D67}"/>
          </ac:spMkLst>
        </pc:spChg>
        <pc:spChg chg="mod">
          <ac:chgData name="Elie Sarkis" userId="e8826e32-598d-44e8-9752-b7fdf035a46f" providerId="ADAL" clId="{8C0BD2BA-78CE-483A-B158-D58CE946CF61}" dt="2022-09-23T06:25:58.885" v="29" actId="1076"/>
          <ac:spMkLst>
            <pc:docMk/>
            <pc:sldMk cId="3840465372" sldId="895"/>
            <ac:spMk id="9" creationId="{FE1C6040-AFEA-4C12-8C3A-3407CAF93398}"/>
          </ac:spMkLst>
        </pc:spChg>
      </pc:sldChg>
      <pc:sldChg chg="modSp add mod modClrScheme chgLayout">
        <pc:chgData name="Elie Sarkis" userId="e8826e32-598d-44e8-9752-b7fdf035a46f" providerId="ADAL" clId="{8C0BD2BA-78CE-483A-B158-D58CE946CF61}" dt="2022-09-23T06:34:28.224" v="87" actId="403"/>
        <pc:sldMkLst>
          <pc:docMk/>
          <pc:sldMk cId="0" sldId="1299"/>
        </pc:sldMkLst>
        <pc:spChg chg="mod">
          <ac:chgData name="Elie Sarkis" userId="e8826e32-598d-44e8-9752-b7fdf035a46f" providerId="ADAL" clId="{8C0BD2BA-78CE-483A-B158-D58CE946CF61}" dt="2022-09-23T06:34:28.224" v="87" actId="403"/>
          <ac:spMkLst>
            <pc:docMk/>
            <pc:sldMk cId="0" sldId="1299"/>
            <ac:spMk id="16387" creationId="{5F6D99BA-562C-AFB0-D108-F75AF1DEAE98}"/>
          </ac:spMkLst>
        </pc:spChg>
        <pc:picChg chg="mod">
          <ac:chgData name="Elie Sarkis" userId="e8826e32-598d-44e8-9752-b7fdf035a46f" providerId="ADAL" clId="{8C0BD2BA-78CE-483A-B158-D58CE946CF61}" dt="2022-09-23T06:34:10.280" v="79" actId="1076"/>
          <ac:picMkLst>
            <pc:docMk/>
            <pc:sldMk cId="0" sldId="1299"/>
            <ac:picMk id="3" creationId="{4974872C-5204-79E3-DCEF-71465C6ACA3C}"/>
          </ac:picMkLst>
        </pc:picChg>
      </pc:sldChg>
      <pc:sldChg chg="add del mod modClrScheme chgLayout">
        <pc:chgData name="Elie Sarkis" userId="e8826e32-598d-44e8-9752-b7fdf035a46f" providerId="ADAL" clId="{8C0BD2BA-78CE-483A-B158-D58CE946CF61}" dt="2022-09-23T06:35:53.243" v="114" actId="47"/>
        <pc:sldMkLst>
          <pc:docMk/>
          <pc:sldMk cId="0" sldId="1300"/>
        </pc:sldMkLst>
      </pc:sldChg>
      <pc:sldChg chg="add mod modClrScheme chgLayout">
        <pc:chgData name="Elie Sarkis" userId="e8826e32-598d-44e8-9752-b7fdf035a46f" providerId="ADAL" clId="{8C0BD2BA-78CE-483A-B158-D58CE946CF61}" dt="2022-09-23T06:37:12.872" v="119" actId="700"/>
        <pc:sldMkLst>
          <pc:docMk/>
          <pc:sldMk cId="0" sldId="1304"/>
        </pc:sldMkLst>
      </pc:sldChg>
      <pc:sldChg chg="delSp modSp add mod modClrScheme chgLayout">
        <pc:chgData name="Elie Sarkis" userId="e8826e32-598d-44e8-9752-b7fdf035a46f" providerId="ADAL" clId="{8C0BD2BA-78CE-483A-B158-D58CE946CF61}" dt="2022-09-23T06:37:45.033" v="126" actId="478"/>
        <pc:sldMkLst>
          <pc:docMk/>
          <pc:sldMk cId="0" sldId="1305"/>
        </pc:sldMkLst>
        <pc:spChg chg="del mod">
          <ac:chgData name="Elie Sarkis" userId="e8826e32-598d-44e8-9752-b7fdf035a46f" providerId="ADAL" clId="{8C0BD2BA-78CE-483A-B158-D58CE946CF61}" dt="2022-09-23T06:37:45.033" v="126" actId="478"/>
          <ac:spMkLst>
            <pc:docMk/>
            <pc:sldMk cId="0" sldId="1305"/>
            <ac:spMk id="2" creationId="{6149C0EA-6AAA-3253-62F6-E8526C35A333}"/>
          </ac:spMkLst>
        </pc:spChg>
        <pc:picChg chg="mod">
          <ac:chgData name="Elie Sarkis" userId="e8826e32-598d-44e8-9752-b7fdf035a46f" providerId="ADAL" clId="{8C0BD2BA-78CE-483A-B158-D58CE946CF61}" dt="2022-09-23T06:37:22.409" v="122" actId="1076"/>
          <ac:picMkLst>
            <pc:docMk/>
            <pc:sldMk cId="0" sldId="1305"/>
            <ac:picMk id="3" creationId="{6D644D03-9261-CBA0-46E2-6446BF31868F}"/>
          </ac:picMkLst>
        </pc:picChg>
        <pc:picChg chg="mod">
          <ac:chgData name="Elie Sarkis" userId="e8826e32-598d-44e8-9752-b7fdf035a46f" providerId="ADAL" clId="{8C0BD2BA-78CE-483A-B158-D58CE946CF61}" dt="2022-09-23T06:37:22.409" v="122" actId="1076"/>
          <ac:picMkLst>
            <pc:docMk/>
            <pc:sldMk cId="0" sldId="1305"/>
            <ac:picMk id="4" creationId="{2D55C09C-5DDA-8D77-D033-233D9879CE7B}"/>
          </ac:picMkLst>
        </pc:picChg>
        <pc:picChg chg="mod">
          <ac:chgData name="Elie Sarkis" userId="e8826e32-598d-44e8-9752-b7fdf035a46f" providerId="ADAL" clId="{8C0BD2BA-78CE-483A-B158-D58CE946CF61}" dt="2022-09-23T06:37:22.409" v="122" actId="1076"/>
          <ac:picMkLst>
            <pc:docMk/>
            <pc:sldMk cId="0" sldId="1305"/>
            <ac:picMk id="5" creationId="{DDBDDF6D-7669-D951-1738-6648C448CB9F}"/>
          </ac:picMkLst>
        </pc:picChg>
      </pc:sldChg>
      <pc:sldChg chg="add mod modClrScheme chgLayout">
        <pc:chgData name="Elie Sarkis" userId="e8826e32-598d-44e8-9752-b7fdf035a46f" providerId="ADAL" clId="{8C0BD2BA-78CE-483A-B158-D58CE946CF61}" dt="2022-09-23T06:33:53.402" v="74" actId="700"/>
        <pc:sldMkLst>
          <pc:docMk/>
          <pc:sldMk cId="1567112998" sldId="1320"/>
        </pc:sldMkLst>
      </pc:sldChg>
      <pc:sldChg chg="modSp add mod modClrScheme chgLayout">
        <pc:chgData name="Elie Sarkis" userId="e8826e32-598d-44e8-9752-b7fdf035a46f" providerId="ADAL" clId="{8C0BD2BA-78CE-483A-B158-D58CE946CF61}" dt="2022-09-23T06:49:59.707" v="128" actId="255"/>
        <pc:sldMkLst>
          <pc:docMk/>
          <pc:sldMk cId="2299398627" sldId="1321"/>
        </pc:sldMkLst>
        <pc:spChg chg="mod">
          <ac:chgData name="Elie Sarkis" userId="e8826e32-598d-44e8-9752-b7fdf035a46f" providerId="ADAL" clId="{8C0BD2BA-78CE-483A-B158-D58CE946CF61}" dt="2022-09-23T06:35:48.630" v="113" actId="14100"/>
          <ac:spMkLst>
            <pc:docMk/>
            <pc:sldMk cId="2299398627" sldId="1321"/>
            <ac:spMk id="6" creationId="{FFEF2343-AA81-FB5F-1169-C08D3FDAD46D}"/>
          </ac:spMkLst>
        </pc:spChg>
        <pc:spChg chg="mod">
          <ac:chgData name="Elie Sarkis" userId="e8826e32-598d-44e8-9752-b7fdf035a46f" providerId="ADAL" clId="{8C0BD2BA-78CE-483A-B158-D58CE946CF61}" dt="2022-09-23T06:49:59.707" v="128" actId="255"/>
          <ac:spMkLst>
            <pc:docMk/>
            <pc:sldMk cId="2299398627" sldId="1321"/>
            <ac:spMk id="8" creationId="{DDE558A5-753A-2C2B-CF17-7C22C4499EF1}"/>
          </ac:spMkLst>
        </pc:spChg>
        <pc:picChg chg="mod">
          <ac:chgData name="Elie Sarkis" userId="e8826e32-598d-44e8-9752-b7fdf035a46f" providerId="ADAL" clId="{8C0BD2BA-78CE-483A-B158-D58CE946CF61}" dt="2022-09-23T06:35:33.300" v="108" actId="14100"/>
          <ac:picMkLst>
            <pc:docMk/>
            <pc:sldMk cId="2299398627" sldId="1321"/>
            <ac:picMk id="4" creationId="{F4197CE9-C937-5E5F-75D1-D46ABE1E4AEE}"/>
          </ac:picMkLst>
        </pc:picChg>
      </pc:sldChg>
      <pc:sldChg chg="modSp add mod modClrScheme chgLayout">
        <pc:chgData name="Elie Sarkis" userId="e8826e32-598d-44e8-9752-b7fdf035a46f" providerId="ADAL" clId="{8C0BD2BA-78CE-483A-B158-D58CE946CF61}" dt="2022-09-23T06:34:37.825" v="89" actId="108"/>
        <pc:sldMkLst>
          <pc:docMk/>
          <pc:sldMk cId="4239733295" sldId="1322"/>
        </pc:sldMkLst>
        <pc:spChg chg="mod">
          <ac:chgData name="Elie Sarkis" userId="e8826e32-598d-44e8-9752-b7fdf035a46f" providerId="ADAL" clId="{8C0BD2BA-78CE-483A-B158-D58CE946CF61}" dt="2022-09-23T06:34:37.825" v="89" actId="108"/>
          <ac:spMkLst>
            <pc:docMk/>
            <pc:sldMk cId="4239733295" sldId="1322"/>
            <ac:spMk id="16387" creationId="{5F6D99BA-562C-AFB0-D108-F75AF1DEAE98}"/>
          </ac:spMkLst>
        </pc:spChg>
      </pc:sldChg>
      <pc:sldChg chg="add mod modClrScheme chgLayout">
        <pc:chgData name="Elie Sarkis" userId="e8826e32-598d-44e8-9752-b7fdf035a46f" providerId="ADAL" clId="{8C0BD2BA-78CE-483A-B158-D58CE946CF61}" dt="2022-09-23T06:33:53.402" v="74" actId="700"/>
        <pc:sldMkLst>
          <pc:docMk/>
          <pc:sldMk cId="1535078008" sldId="1323"/>
        </pc:sldMkLst>
      </pc:sldChg>
      <pc:sldChg chg="modSp add mod modClrScheme chgLayout">
        <pc:chgData name="Elie Sarkis" userId="e8826e32-598d-44e8-9752-b7fdf035a46f" providerId="ADAL" clId="{8C0BD2BA-78CE-483A-B158-D58CE946CF61}" dt="2022-09-23T06:34:59.776" v="94" actId="1076"/>
        <pc:sldMkLst>
          <pc:docMk/>
          <pc:sldMk cId="1558776685" sldId="1324"/>
        </pc:sldMkLst>
        <pc:spChg chg="mod">
          <ac:chgData name="Elie Sarkis" userId="e8826e32-598d-44e8-9752-b7fdf035a46f" providerId="ADAL" clId="{8C0BD2BA-78CE-483A-B158-D58CE946CF61}" dt="2022-09-23T06:34:59.776" v="94" actId="1076"/>
          <ac:spMkLst>
            <pc:docMk/>
            <pc:sldMk cId="1558776685" sldId="1324"/>
            <ac:spMk id="4" creationId="{06EE6DC6-0DE5-C22E-F0B1-0BC26F4E5400}"/>
          </ac:spMkLst>
        </pc:spChg>
        <pc:picChg chg="mod">
          <ac:chgData name="Elie Sarkis" userId="e8826e32-598d-44e8-9752-b7fdf035a46f" providerId="ADAL" clId="{8C0BD2BA-78CE-483A-B158-D58CE946CF61}" dt="2022-09-23T06:34:54.960" v="93" actId="14100"/>
          <ac:picMkLst>
            <pc:docMk/>
            <pc:sldMk cId="1558776685" sldId="1324"/>
            <ac:picMk id="3" creationId="{98DDBB90-032C-3EFA-D2C4-048154F29A4F}"/>
          </ac:picMkLst>
        </pc:picChg>
      </pc:sldChg>
      <pc:sldChg chg="add mod modClrScheme chgLayout">
        <pc:chgData name="Elie Sarkis" userId="e8826e32-598d-44e8-9752-b7fdf035a46f" providerId="ADAL" clId="{8C0BD2BA-78CE-483A-B158-D58CE946CF61}" dt="2022-09-23T06:33:53.402" v="74" actId="700"/>
        <pc:sldMkLst>
          <pc:docMk/>
          <pc:sldMk cId="3456510750" sldId="1325"/>
        </pc:sldMkLst>
      </pc:sldChg>
      <pc:sldChg chg="modSp add mod modClrScheme chgLayout">
        <pc:chgData name="Elie Sarkis" userId="e8826e32-598d-44e8-9752-b7fdf035a46f" providerId="ADAL" clId="{8C0BD2BA-78CE-483A-B158-D58CE946CF61}" dt="2022-09-23T06:50:18.195" v="132" actId="255"/>
        <pc:sldMkLst>
          <pc:docMk/>
          <pc:sldMk cId="3810041088" sldId="1326"/>
        </pc:sldMkLst>
        <pc:spChg chg="mod">
          <ac:chgData name="Elie Sarkis" userId="e8826e32-598d-44e8-9752-b7fdf035a46f" providerId="ADAL" clId="{8C0BD2BA-78CE-483A-B158-D58CE946CF61}" dt="2022-09-23T06:50:18.195" v="132" actId="255"/>
          <ac:spMkLst>
            <pc:docMk/>
            <pc:sldMk cId="3810041088" sldId="1326"/>
            <ac:spMk id="4" creationId="{D2AD74CD-A540-CB97-53CD-42F879E738F6}"/>
          </ac:spMkLst>
        </pc:spChg>
        <pc:picChg chg="mod">
          <ac:chgData name="Elie Sarkis" userId="e8826e32-598d-44e8-9752-b7fdf035a46f" providerId="ADAL" clId="{8C0BD2BA-78CE-483A-B158-D58CE946CF61}" dt="2022-09-23T06:35:24.101" v="105" actId="1076"/>
          <ac:picMkLst>
            <pc:docMk/>
            <pc:sldMk cId="3810041088" sldId="1326"/>
            <ac:picMk id="3" creationId="{D2A799BB-8EC4-1FD9-D39C-4A89466C17CA}"/>
          </ac:picMkLst>
        </pc:picChg>
      </pc:sldChg>
      <pc:sldChg chg="add">
        <pc:chgData name="Elie Sarkis" userId="e8826e32-598d-44e8-9752-b7fdf035a46f" providerId="ADAL" clId="{8C0BD2BA-78CE-483A-B158-D58CE946CF61}" dt="2022-09-23T06:50:31.176" v="133"/>
        <pc:sldMkLst>
          <pc:docMk/>
          <pc:sldMk cId="2101457434" sldId="5870"/>
        </pc:sldMkLst>
      </pc:sldChg>
    </pc:docChg>
  </pc:docChgLst>
  <pc:docChgLst>
    <pc:chgData name="Elie Sarkis" userId="e8826e32-598d-44e8-9752-b7fdf035a46f" providerId="ADAL" clId="{A609484D-1247-4984-8959-049AE12BEAC0}"/>
    <pc:docChg chg="undo custSel addSld delSld modSld sldOrd">
      <pc:chgData name="Elie Sarkis" userId="e8826e32-598d-44e8-9752-b7fdf035a46f" providerId="ADAL" clId="{A609484D-1247-4984-8959-049AE12BEAC0}" dt="2023-01-04T05:29:50.995" v="154" actId="6549"/>
      <pc:docMkLst>
        <pc:docMk/>
      </pc:docMkLst>
      <pc:sldChg chg="modSp mod">
        <pc:chgData name="Elie Sarkis" userId="e8826e32-598d-44e8-9752-b7fdf035a46f" providerId="ADAL" clId="{A609484D-1247-4984-8959-049AE12BEAC0}" dt="2023-01-04T05:29:50.995" v="154" actId="6549"/>
        <pc:sldMkLst>
          <pc:docMk/>
          <pc:sldMk cId="751796680" sldId="256"/>
        </pc:sldMkLst>
        <pc:spChg chg="mod">
          <ac:chgData name="Elie Sarkis" userId="e8826e32-598d-44e8-9752-b7fdf035a46f" providerId="ADAL" clId="{A609484D-1247-4984-8959-049AE12BEAC0}" dt="2023-01-04T05:29:50.995" v="154" actId="6549"/>
          <ac:spMkLst>
            <pc:docMk/>
            <pc:sldMk cId="751796680" sldId="256"/>
            <ac:spMk id="5" creationId="{1A12168F-BBB5-C845-B138-AB550A9E1E14}"/>
          </ac:spMkLst>
        </pc:spChg>
      </pc:sldChg>
      <pc:sldChg chg="modSp add mod modClrScheme chgLayout">
        <pc:chgData name="Elie Sarkis" userId="e8826e32-598d-44e8-9752-b7fdf035a46f" providerId="ADAL" clId="{A609484D-1247-4984-8959-049AE12BEAC0}" dt="2023-01-04T05:21:35.324" v="6" actId="207"/>
        <pc:sldMkLst>
          <pc:docMk/>
          <pc:sldMk cId="0" sldId="1228"/>
        </pc:sldMkLst>
        <pc:spChg chg="mod">
          <ac:chgData name="Elie Sarkis" userId="e8826e32-598d-44e8-9752-b7fdf035a46f" providerId="ADAL" clId="{A609484D-1247-4984-8959-049AE12BEAC0}" dt="2023-01-04T05:21:35.324" v="6" actId="207"/>
          <ac:spMkLst>
            <pc:docMk/>
            <pc:sldMk cId="0" sldId="1228"/>
            <ac:spMk id="21506" creationId="{72B3127B-6BE2-0103-A6EF-54AF171B0708}"/>
          </ac:spMkLst>
        </pc:spChg>
      </pc:sldChg>
      <pc:sldChg chg="modSp add mod modClrScheme chgLayout">
        <pc:chgData name="Elie Sarkis" userId="e8826e32-598d-44e8-9752-b7fdf035a46f" providerId="ADAL" clId="{A609484D-1247-4984-8959-049AE12BEAC0}" dt="2023-01-04T05:21:38.667" v="7" actId="207"/>
        <pc:sldMkLst>
          <pc:docMk/>
          <pc:sldMk cId="0" sldId="1229"/>
        </pc:sldMkLst>
        <pc:spChg chg="mod">
          <ac:chgData name="Elie Sarkis" userId="e8826e32-598d-44e8-9752-b7fdf035a46f" providerId="ADAL" clId="{A609484D-1247-4984-8959-049AE12BEAC0}" dt="2023-01-04T05:21:38.667" v="7" actId="207"/>
          <ac:spMkLst>
            <pc:docMk/>
            <pc:sldMk cId="0" sldId="1229"/>
            <ac:spMk id="22530" creationId="{180C024E-1F37-D3B5-A992-28A31C69C57C}"/>
          </ac:spMkLst>
        </pc:spChg>
      </pc:sldChg>
      <pc:sldChg chg="delSp modSp add mod modClrScheme chgLayout">
        <pc:chgData name="Elie Sarkis" userId="e8826e32-598d-44e8-9752-b7fdf035a46f" providerId="ADAL" clId="{A609484D-1247-4984-8959-049AE12BEAC0}" dt="2023-01-04T05:26:22.007" v="153" actId="1076"/>
        <pc:sldMkLst>
          <pc:docMk/>
          <pc:sldMk cId="0" sldId="1302"/>
        </pc:sldMkLst>
        <pc:spChg chg="mod">
          <ac:chgData name="Elie Sarkis" userId="e8826e32-598d-44e8-9752-b7fdf035a46f" providerId="ADAL" clId="{A609484D-1247-4984-8959-049AE12BEAC0}" dt="2023-01-04T05:24:04.257" v="52" actId="207"/>
          <ac:spMkLst>
            <pc:docMk/>
            <pc:sldMk cId="0" sldId="1302"/>
            <ac:spMk id="14" creationId="{533374EC-FF39-3458-6ADB-0AE30E942C71}"/>
          </ac:spMkLst>
        </pc:spChg>
        <pc:spChg chg="mod">
          <ac:chgData name="Elie Sarkis" userId="e8826e32-598d-44e8-9752-b7fdf035a46f" providerId="ADAL" clId="{A609484D-1247-4984-8959-049AE12BEAC0}" dt="2023-01-04T05:25:48.468" v="145" actId="1076"/>
          <ac:spMkLst>
            <pc:docMk/>
            <pc:sldMk cId="0" sldId="1302"/>
            <ac:spMk id="15" creationId="{BD19BB05-4009-11DC-9A27-4D18CC805F4A}"/>
          </ac:spMkLst>
        </pc:spChg>
        <pc:spChg chg="mod">
          <ac:chgData name="Elie Sarkis" userId="e8826e32-598d-44e8-9752-b7fdf035a46f" providerId="ADAL" clId="{A609484D-1247-4984-8959-049AE12BEAC0}" dt="2023-01-04T05:26:22.007" v="153" actId="1076"/>
          <ac:spMkLst>
            <pc:docMk/>
            <pc:sldMk cId="0" sldId="1302"/>
            <ac:spMk id="17" creationId="{E177D8D4-F1BE-E2E6-4143-33685BEDE550}"/>
          </ac:spMkLst>
        </pc:spChg>
        <pc:grpChg chg="mod">
          <ac:chgData name="Elie Sarkis" userId="e8826e32-598d-44e8-9752-b7fdf035a46f" providerId="ADAL" clId="{A609484D-1247-4984-8959-049AE12BEAC0}" dt="2023-01-04T05:26:16.004" v="152" actId="14100"/>
          <ac:grpSpMkLst>
            <pc:docMk/>
            <pc:sldMk cId="0" sldId="1302"/>
            <ac:grpSpMk id="13" creationId="{C399DAAB-39C2-63FD-12D5-130B0AAD5108}"/>
          </ac:grpSpMkLst>
        </pc:grpChg>
        <pc:grpChg chg="del">
          <ac:chgData name="Elie Sarkis" userId="e8826e32-598d-44e8-9752-b7fdf035a46f" providerId="ADAL" clId="{A609484D-1247-4984-8959-049AE12BEAC0}" dt="2023-01-04T05:23:23.965" v="13" actId="478"/>
          <ac:grpSpMkLst>
            <pc:docMk/>
            <pc:sldMk cId="0" sldId="1302"/>
            <ac:grpSpMk id="19459" creationId="{1DEB515B-2C75-D710-8FFF-2C5C8B64C217}"/>
          </ac:grpSpMkLst>
        </pc:grpChg>
      </pc:sldChg>
      <pc:sldChg chg="modSp add mod modClrScheme chgLayout">
        <pc:chgData name="Elie Sarkis" userId="e8826e32-598d-44e8-9752-b7fdf035a46f" providerId="ADAL" clId="{A609484D-1247-4984-8959-049AE12BEAC0}" dt="2023-01-04T05:22:25.342" v="11" actId="207"/>
        <pc:sldMkLst>
          <pc:docMk/>
          <pc:sldMk cId="0" sldId="1303"/>
        </pc:sldMkLst>
        <pc:spChg chg="mod">
          <ac:chgData name="Elie Sarkis" userId="e8826e32-598d-44e8-9752-b7fdf035a46f" providerId="ADAL" clId="{A609484D-1247-4984-8959-049AE12BEAC0}" dt="2023-01-04T05:22:25.342" v="11" actId="207"/>
          <ac:spMkLst>
            <pc:docMk/>
            <pc:sldMk cId="0" sldId="1303"/>
            <ac:spMk id="3" creationId="{97B49931-1437-3C89-25D3-8DE67A3E668C}"/>
          </ac:spMkLst>
        </pc:spChg>
        <pc:spChg chg="mod">
          <ac:chgData name="Elie Sarkis" userId="e8826e32-598d-44e8-9752-b7fdf035a46f" providerId="ADAL" clId="{A609484D-1247-4984-8959-049AE12BEAC0}" dt="2023-01-04T05:21:56.218" v="8" actId="207"/>
          <ac:spMkLst>
            <pc:docMk/>
            <pc:sldMk cId="0" sldId="1303"/>
            <ac:spMk id="8" creationId="{BF05609E-813F-E063-57D4-871DEF83C936}"/>
          </ac:spMkLst>
        </pc:spChg>
        <pc:grpChg chg="mod">
          <ac:chgData name="Elie Sarkis" userId="e8826e32-598d-44e8-9752-b7fdf035a46f" providerId="ADAL" clId="{A609484D-1247-4984-8959-049AE12BEAC0}" dt="2023-01-04T05:22:25.342" v="11" actId="207"/>
          <ac:grpSpMkLst>
            <pc:docMk/>
            <pc:sldMk cId="0" sldId="1303"/>
            <ac:grpSpMk id="2" creationId="{8FAC55A4-BE2D-3EFA-59E8-7A57B45584B6}"/>
          </ac:grpSpMkLst>
        </pc:grpChg>
        <pc:grpChg chg="mod">
          <ac:chgData name="Elie Sarkis" userId="e8826e32-598d-44e8-9752-b7fdf035a46f" providerId="ADAL" clId="{A609484D-1247-4984-8959-049AE12BEAC0}" dt="2023-01-04T05:21:56.218" v="8" actId="207"/>
          <ac:grpSpMkLst>
            <pc:docMk/>
            <pc:sldMk cId="0" sldId="1303"/>
            <ac:grpSpMk id="7" creationId="{400327A0-5F4A-0960-6585-10AA059E1E91}"/>
          </ac:grpSpMkLst>
        </pc:grpChg>
        <pc:picChg chg="mod">
          <ac:chgData name="Elie Sarkis" userId="e8826e32-598d-44e8-9752-b7fdf035a46f" providerId="ADAL" clId="{A609484D-1247-4984-8959-049AE12BEAC0}" dt="2023-01-04T05:22:11.488" v="9"/>
          <ac:picMkLst>
            <pc:docMk/>
            <pc:sldMk cId="0" sldId="1303"/>
            <ac:picMk id="20483" creationId="{52D0351B-CF2D-03EC-DBDC-7B26BAF1D4D5}"/>
          </ac:picMkLst>
        </pc:picChg>
        <pc:picChg chg="mod">
          <ac:chgData name="Elie Sarkis" userId="e8826e32-598d-44e8-9752-b7fdf035a46f" providerId="ADAL" clId="{A609484D-1247-4984-8959-049AE12BEAC0}" dt="2023-01-04T05:22:14.958" v="10"/>
          <ac:picMkLst>
            <pc:docMk/>
            <pc:sldMk cId="0" sldId="1303"/>
            <ac:picMk id="20484" creationId="{C8EF0EDC-07DA-F682-0F88-09C624723106}"/>
          </ac:picMkLst>
        </pc:picChg>
      </pc:sldChg>
      <pc:sldChg chg="ord">
        <pc:chgData name="Elie Sarkis" userId="e8826e32-598d-44e8-9752-b7fdf035a46f" providerId="ADAL" clId="{A609484D-1247-4984-8959-049AE12BEAC0}" dt="2023-01-04T05:21:20.168" v="3"/>
        <pc:sldMkLst>
          <pc:docMk/>
          <pc:sldMk cId="0" sldId="1304"/>
        </pc:sldMkLst>
      </pc:sldChg>
      <pc:sldChg chg="ord">
        <pc:chgData name="Elie Sarkis" userId="e8826e32-598d-44e8-9752-b7fdf035a46f" providerId="ADAL" clId="{A609484D-1247-4984-8959-049AE12BEAC0}" dt="2023-01-04T05:21:20.168" v="3"/>
        <pc:sldMkLst>
          <pc:docMk/>
          <pc:sldMk cId="0" sldId="1305"/>
        </pc:sldMkLst>
      </pc:sldChg>
      <pc:sldChg chg="add del">
        <pc:chgData name="Elie Sarkis" userId="e8826e32-598d-44e8-9752-b7fdf035a46f" providerId="ADAL" clId="{A609484D-1247-4984-8959-049AE12BEAC0}" dt="2023-01-04T05:21:15.831" v="1" actId="47"/>
        <pc:sldMkLst>
          <pc:docMk/>
          <pc:sldMk cId="0" sldId="5871"/>
        </pc:sldMkLst>
      </pc:sldChg>
      <pc:sldChg chg="add del">
        <pc:chgData name="Elie Sarkis" userId="e8826e32-598d-44e8-9752-b7fdf035a46f" providerId="ADAL" clId="{A609484D-1247-4984-8959-049AE12BEAC0}" dt="2023-01-04T05:21:15.831" v="1" actId="47"/>
        <pc:sldMkLst>
          <pc:docMk/>
          <pc:sldMk cId="0" sldId="5872"/>
        </pc:sldMkLst>
      </pc:sldChg>
    </pc:docChg>
  </pc:docChgLst>
  <pc:docChgLst>
    <pc:chgData name="Elissa Ghanem" userId="4a7130e5-902d-40f4-8ff2-d3a7ed44752a" providerId="ADAL" clId="{08B961C5-B2C2-4716-BC31-E92A0C336417}"/>
    <pc:docChg chg="modSld">
      <pc:chgData name="Elissa Ghanem" userId="4a7130e5-902d-40f4-8ff2-d3a7ed44752a" providerId="ADAL" clId="{08B961C5-B2C2-4716-BC31-E92A0C336417}" dt="2022-09-22T10:24:23.066" v="3" actId="14100"/>
      <pc:docMkLst>
        <pc:docMk/>
      </pc:docMkLst>
      <pc:sldChg chg="modSp mod">
        <pc:chgData name="Elissa Ghanem" userId="4a7130e5-902d-40f4-8ff2-d3a7ed44752a" providerId="ADAL" clId="{08B961C5-B2C2-4716-BC31-E92A0C336417}" dt="2022-09-22T10:24:23.066" v="3" actId="14100"/>
        <pc:sldMkLst>
          <pc:docMk/>
          <pc:sldMk cId="2685091983" sldId="887"/>
        </pc:sldMkLst>
        <pc:spChg chg="mod">
          <ac:chgData name="Elissa Ghanem" userId="4a7130e5-902d-40f4-8ff2-d3a7ed44752a" providerId="ADAL" clId="{08B961C5-B2C2-4716-BC31-E92A0C336417}" dt="2022-09-22T10:24:23.066" v="3" actId="14100"/>
          <ac:spMkLst>
            <pc:docMk/>
            <pc:sldMk cId="2685091983" sldId="887"/>
            <ac:spMk id="9" creationId="{FE1C6040-AFEA-4C12-8C3A-3407CAF93398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CEA46484-DBEA-461F-A3EF-6F72B80B3BD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A7D223C7-63E2-42C7-9DD8-0ECC9DE0398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695347-BAA7-49D2-9F61-C4EF07AF2A45}" type="datetimeFigureOut">
              <a:rPr lang="en-GB" smtClean="0"/>
              <a:t>07/12/2023</a:t>
            </a:fld>
            <a:endParaRPr lang="en-GB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534A616E-02DE-4BB3-8368-F0D687C6F80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3560D31F-432B-4E4E-A971-0E6C24284AF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1281D87-FA4C-490E-B4A6-ECE949FDD0C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15403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59CE24-C098-4D6F-8853-4FBA6FCE2500}" type="datetimeFigureOut">
              <a:rPr lang="en-GB" smtClean="0"/>
              <a:t>07/12/2023</a:t>
            </a:fld>
            <a:endParaRPr lang="en-GB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Edit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22CA7F-29D6-4EB5-A290-EFF6FFCE4A6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890196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22CA7F-29D6-4EB5-A290-EFF6FFCE4A6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11804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847603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72F5227-39BE-F54D-BEEC-3360BCF722E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00426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FEE362DD-BEF6-4465-9FB0-5443A6D04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61992" y="242423"/>
            <a:ext cx="1644008" cy="112140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F4A6FB5F-C2AF-134F-AC42-492E27CAB31D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91142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A987958D-6396-EB45-B080-2966513FC991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11833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s objetos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3210D92-D7EA-4941-8360-FC572DD0FA55}"/>
              </a:ext>
            </a:extLst>
          </p:cNvPr>
          <p:cNvSpPr/>
          <p:nvPr userDrawn="1"/>
        </p:nvSpPr>
        <p:spPr>
          <a:xfrm>
            <a:off x="4327431" y="6307680"/>
            <a:ext cx="53880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spc="600">
                <a:solidFill>
                  <a:srgbClr val="92182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RCELONA | MADRID | MALTA | ONLINE</a:t>
            </a:r>
            <a:endParaRPr lang="ru-RU" sz="1000" spc="600">
              <a:solidFill>
                <a:srgbClr val="92182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7879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3305A4ED-7923-4C52-87D8-E3361671152F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1C1B7B7C-3FE7-4461-9E2D-3C20BA8BFD7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15719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74863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3" r:id="rId2"/>
    <p:sldLayoutId id="2147483650" r:id="rId3"/>
    <p:sldLayoutId id="2147483651" r:id="rId4"/>
    <p:sldLayoutId id="2147483652" r:id="rId5"/>
    <p:sldLayoutId id="2147483654" r:id="rId6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12168F-BBB5-C845-B138-AB550A9E1E14}"/>
              </a:ext>
            </a:extLst>
          </p:cNvPr>
          <p:cNvSpPr txBox="1"/>
          <p:nvPr/>
        </p:nvSpPr>
        <p:spPr>
          <a:xfrm>
            <a:off x="1154364" y="2712904"/>
            <a:ext cx="57649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921824"/>
                </a:solidFill>
                <a:latin typeface="Georgia" panose="02040502050405020303" pitchFamily="18" charset="0"/>
              </a:rPr>
              <a:t>Facebook for Business</a:t>
            </a:r>
            <a:endParaRPr lang="en" sz="3200" b="1" dirty="0">
              <a:solidFill>
                <a:srgbClr val="921824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7966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AC9F47B-87C1-BBEB-C529-807AB77826B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8856"/>
          <a:stretch/>
        </p:blipFill>
        <p:spPr>
          <a:xfrm>
            <a:off x="1725764" y="435333"/>
            <a:ext cx="5893100" cy="4705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651075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2A799BB-8EC4-1FD9-D39C-4A89466C17CA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000" r="25000" b="5555"/>
          <a:stretch/>
        </p:blipFill>
        <p:spPr>
          <a:xfrm>
            <a:off x="1096454" y="1296063"/>
            <a:ext cx="5961025" cy="3775316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D2AD74CD-A540-CB97-53CD-42F879E738F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96454" y="655236"/>
            <a:ext cx="4766821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1600" b="1" dirty="0">
                <a:solidFill>
                  <a:srgbClr val="90292A"/>
                </a:solidFill>
                <a:latin typeface="Georgia" panose="02040502050405020303" pitchFamily="18" charset="0"/>
              </a:rPr>
              <a:t>Understand </a:t>
            </a:r>
            <a:r>
              <a:rPr lang="en-US" alt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the</a:t>
            </a:r>
            <a:r>
              <a:rPr lang="en-US" altLang="en-US" sz="1600" b="1" dirty="0">
                <a:solidFill>
                  <a:srgbClr val="90292A"/>
                </a:solidFill>
                <a:latin typeface="Georgia" panose="02040502050405020303" pitchFamily="18" charset="0"/>
              </a:rPr>
              <a:t> Meta Business Suite</a:t>
            </a:r>
          </a:p>
        </p:txBody>
      </p:sp>
    </p:spTree>
    <p:extLst>
      <p:ext uri="{BB962C8B-B14F-4D97-AF65-F5344CB8AC3E}">
        <p14:creationId xmlns:p14="http://schemas.microsoft.com/office/powerpoint/2010/main" val="38100410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4197CE9-C937-5E5F-75D1-D46ABE1E4A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2695" y="1352428"/>
            <a:ext cx="7193636" cy="3908222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FFEF2343-AA81-FB5F-1169-C08D3FDAD46D}"/>
              </a:ext>
            </a:extLst>
          </p:cNvPr>
          <p:cNvSpPr/>
          <p:nvPr/>
        </p:nvSpPr>
        <p:spPr>
          <a:xfrm>
            <a:off x="2705494" y="2469823"/>
            <a:ext cx="914400" cy="19796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DE558A5-753A-2C2B-CF17-7C22C4499EF1}"/>
              </a:ext>
            </a:extLst>
          </p:cNvPr>
          <p:cNvSpPr txBox="1"/>
          <p:nvPr/>
        </p:nvSpPr>
        <p:spPr>
          <a:xfrm>
            <a:off x="1192695" y="702826"/>
            <a:ext cx="457200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Meta Business Suite</a:t>
            </a:r>
            <a:endParaRPr lang="en-AE" sz="2000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93986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6">
            <a:extLst>
              <a:ext uri="{FF2B5EF4-FFF2-40B4-BE49-F238E27FC236}">
                <a16:creationId xmlns:a16="http://schemas.microsoft.com/office/drawing/2014/main" id="{C399DAAB-39C2-63FD-12D5-130B0AAD5108}"/>
              </a:ext>
            </a:extLst>
          </p:cNvPr>
          <p:cNvGrpSpPr/>
          <p:nvPr/>
        </p:nvGrpSpPr>
        <p:grpSpPr>
          <a:xfrm>
            <a:off x="911681" y="1721633"/>
            <a:ext cx="8378896" cy="3301183"/>
            <a:chOff x="0" y="0"/>
            <a:chExt cx="1913890" cy="1913890"/>
          </a:xfrm>
          <a:solidFill>
            <a:schemeClr val="tx1">
              <a:lumMod val="65000"/>
              <a:lumOff val="35000"/>
            </a:schemeClr>
          </a:solidFill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533374EC-FF39-3458-6ADB-0AE30E942C71}"/>
                </a:ext>
              </a:extLst>
            </p:cNvPr>
            <p:cNvSpPr/>
            <p:nvPr/>
          </p:nvSpPr>
          <p:spPr>
            <a:xfrm>
              <a:off x="0" y="0"/>
              <a:ext cx="1913890" cy="1913890"/>
            </a:xfrm>
            <a:custGeom>
              <a:avLst/>
              <a:gdLst/>
              <a:ahLst/>
              <a:cxnLst/>
              <a:rect l="l" t="t" r="r" b="b"/>
              <a:pathLst>
                <a:path w="1913890" h="1913890">
                  <a:moveTo>
                    <a:pt x="0" y="0"/>
                  </a:moveTo>
                  <a:lnTo>
                    <a:pt x="1913890" y="0"/>
                  </a:lnTo>
                  <a:lnTo>
                    <a:pt x="1913890" y="1913890"/>
                  </a:lnTo>
                  <a:lnTo>
                    <a:pt x="0" y="1913890"/>
                  </a:lnTo>
                  <a:close/>
                </a:path>
              </a:pathLst>
            </a:custGeom>
            <a:grpFill/>
          </p:spPr>
        </p:sp>
      </p:grpSp>
      <p:sp>
        <p:nvSpPr>
          <p:cNvPr id="15" name="TextBox 8">
            <a:extLst>
              <a:ext uri="{FF2B5EF4-FFF2-40B4-BE49-F238E27FC236}">
                <a16:creationId xmlns:a16="http://schemas.microsoft.com/office/drawing/2014/main" id="{BD19BB05-4009-11DC-9A27-4D18CC805F4A}"/>
              </a:ext>
            </a:extLst>
          </p:cNvPr>
          <p:cNvSpPr txBox="1"/>
          <p:nvPr/>
        </p:nvSpPr>
        <p:spPr>
          <a:xfrm>
            <a:off x="1527104" y="2163333"/>
            <a:ext cx="7148050" cy="25313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lnSpc>
                <a:spcPts val="2456"/>
              </a:lnSpc>
              <a:defRPr/>
            </a:pPr>
            <a:r>
              <a:rPr lang="en-US" sz="1400" b="1" spc="4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tag</a:t>
            </a:r>
            <a:r>
              <a:rPr lang="en-US" sz="1600" b="1" spc="4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your location</a:t>
            </a:r>
          </a:p>
          <a:p>
            <a:pPr algn="ctr">
              <a:lnSpc>
                <a:spcPts val="2456"/>
              </a:lnSpc>
              <a:defRPr/>
            </a:pPr>
            <a:r>
              <a:rPr lang="en-US" sz="1600" spc="4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Malta #Madrid #Spain</a:t>
            </a:r>
          </a:p>
          <a:p>
            <a:pPr algn="ctr">
              <a:lnSpc>
                <a:spcPts val="2456"/>
              </a:lnSpc>
              <a:defRPr/>
            </a:pPr>
            <a:endParaRPr lang="en-US" sz="1600" spc="49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456"/>
              </a:lnSpc>
              <a:defRPr/>
            </a:pPr>
            <a:r>
              <a:rPr lang="en-US" sz="1600" b="1" spc="4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tag your product or services</a:t>
            </a:r>
          </a:p>
          <a:p>
            <a:pPr algn="ctr">
              <a:lnSpc>
                <a:spcPts val="2456"/>
              </a:lnSpc>
              <a:defRPr/>
            </a:pPr>
            <a:r>
              <a:rPr lang="en-US" sz="1600" spc="4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Makeup, #Shoes, #Dentist, #Mobiles, #Smartphones</a:t>
            </a:r>
          </a:p>
          <a:p>
            <a:pPr algn="ctr">
              <a:lnSpc>
                <a:spcPts val="2456"/>
              </a:lnSpc>
              <a:defRPr/>
            </a:pPr>
            <a:endParaRPr lang="en-US" sz="1600" spc="49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lnSpc>
                <a:spcPts val="2456"/>
              </a:lnSpc>
              <a:defRPr/>
            </a:pPr>
            <a:r>
              <a:rPr lang="en-US" sz="1600" b="1" spc="4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shtag your industry</a:t>
            </a:r>
          </a:p>
          <a:p>
            <a:pPr algn="ctr">
              <a:lnSpc>
                <a:spcPts val="2456"/>
              </a:lnSpc>
              <a:defRPr/>
            </a:pPr>
            <a:r>
              <a:rPr lang="en-US" sz="1600" spc="49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#Marketing, #Travel, #Fitness #Insurance #RealEstate</a:t>
            </a:r>
          </a:p>
        </p:txBody>
      </p:sp>
      <p:sp>
        <p:nvSpPr>
          <p:cNvPr id="17" name="TextBox 10">
            <a:extLst>
              <a:ext uri="{FF2B5EF4-FFF2-40B4-BE49-F238E27FC236}">
                <a16:creationId xmlns:a16="http://schemas.microsoft.com/office/drawing/2014/main" id="{E177D8D4-F1BE-E2E6-4143-33685BEDE550}"/>
              </a:ext>
            </a:extLst>
          </p:cNvPr>
          <p:cNvSpPr txBox="1"/>
          <p:nvPr/>
        </p:nvSpPr>
        <p:spPr>
          <a:xfrm>
            <a:off x="911681" y="905235"/>
            <a:ext cx="4368339" cy="3970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lnSpc>
                <a:spcPts val="3360"/>
              </a:lnSpc>
              <a:defRPr/>
            </a:pPr>
            <a:r>
              <a:rPr lang="en-US" sz="2000" b="1" spc="72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Hashtags on Facebook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>
            <a:extLst>
              <a:ext uri="{FF2B5EF4-FFF2-40B4-BE49-F238E27FC236}">
                <a16:creationId xmlns:a16="http://schemas.microsoft.com/office/drawing/2014/main" id="{8FAC55A4-BE2D-3EFA-59E8-7A57B45584B6}"/>
              </a:ext>
            </a:extLst>
          </p:cNvPr>
          <p:cNvGrpSpPr/>
          <p:nvPr/>
        </p:nvGrpSpPr>
        <p:grpSpPr>
          <a:xfrm>
            <a:off x="1143001" y="1143000"/>
            <a:ext cx="4331855" cy="955668"/>
            <a:chOff x="854592" y="45256"/>
            <a:chExt cx="1390472" cy="315521"/>
          </a:xfrm>
          <a:solidFill>
            <a:schemeClr val="tx1">
              <a:lumMod val="75000"/>
              <a:lumOff val="25000"/>
            </a:schemeClr>
          </a:solidFill>
        </p:grpSpPr>
        <p:sp>
          <p:nvSpPr>
            <p:cNvPr id="3" name="Freeform 5">
              <a:extLst>
                <a:ext uri="{FF2B5EF4-FFF2-40B4-BE49-F238E27FC236}">
                  <a16:creationId xmlns:a16="http://schemas.microsoft.com/office/drawing/2014/main" id="{97B49931-1437-3C89-25D3-8DE67A3E668C}"/>
                </a:ext>
              </a:extLst>
            </p:cNvPr>
            <p:cNvSpPr/>
            <p:nvPr/>
          </p:nvSpPr>
          <p:spPr>
            <a:xfrm>
              <a:off x="854592" y="45256"/>
              <a:ext cx="1390472" cy="315521"/>
            </a:xfrm>
            <a:custGeom>
              <a:avLst/>
              <a:gdLst/>
              <a:ahLst/>
              <a:cxnLst/>
              <a:rect l="l" t="t" r="r" b="b"/>
              <a:pathLst>
                <a:path w="2935111" h="347563">
                  <a:moveTo>
                    <a:pt x="0" y="0"/>
                  </a:moveTo>
                  <a:lnTo>
                    <a:pt x="2935111" y="0"/>
                  </a:lnTo>
                  <a:lnTo>
                    <a:pt x="2935111" y="347563"/>
                  </a:lnTo>
                  <a:lnTo>
                    <a:pt x="0" y="347563"/>
                  </a:lnTo>
                  <a:close/>
                </a:path>
              </a:pathLst>
            </a:custGeom>
            <a:grpFill/>
          </p:spPr>
        </p:sp>
      </p:grpSp>
      <p:pic>
        <p:nvPicPr>
          <p:cNvPr id="20483" name="Picture 6">
            <a:extLst>
              <a:ext uri="{FF2B5EF4-FFF2-40B4-BE49-F238E27FC236}">
                <a16:creationId xmlns:a16="http://schemas.microsoft.com/office/drawing/2014/main" id="{52D0351B-CF2D-03EC-DBDC-7B26BAF1D4D5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619" y="2333268"/>
            <a:ext cx="4327525" cy="144303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</p:pic>
      <p:pic>
        <p:nvPicPr>
          <p:cNvPr id="20484" name="Picture 7">
            <a:extLst>
              <a:ext uri="{FF2B5EF4-FFF2-40B4-BE49-F238E27FC236}">
                <a16:creationId xmlns:a16="http://schemas.microsoft.com/office/drawing/2014/main" id="{C8EF0EDC-07DA-F682-0F88-09C624723106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857" y="3977918"/>
            <a:ext cx="4327525" cy="144303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</p:pic>
      <p:sp>
        <p:nvSpPr>
          <p:cNvPr id="6" name="TextBox 8">
            <a:extLst>
              <a:ext uri="{FF2B5EF4-FFF2-40B4-BE49-F238E27FC236}">
                <a16:creationId xmlns:a16="http://schemas.microsoft.com/office/drawing/2014/main" id="{CC29C60D-9F2B-F6A3-D2C2-FF593F6872EF}"/>
              </a:ext>
            </a:extLst>
          </p:cNvPr>
          <p:cNvSpPr txBox="1"/>
          <p:nvPr/>
        </p:nvSpPr>
        <p:spPr>
          <a:xfrm>
            <a:off x="1365106" y="1223606"/>
            <a:ext cx="3886200" cy="76341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>
              <a:lnSpc>
                <a:spcPts val="3120"/>
              </a:lnSpc>
              <a:defRPr/>
            </a:pPr>
            <a:r>
              <a:rPr lang="en-US" sz="1400" b="1" spc="14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n is the best time to post </a:t>
            </a:r>
          </a:p>
          <a:p>
            <a:pPr algn="ctr">
              <a:lnSpc>
                <a:spcPts val="3120"/>
              </a:lnSpc>
              <a:defRPr/>
            </a:pPr>
            <a:r>
              <a:rPr lang="en-US" sz="1400" b="1" spc="14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Facebook?</a:t>
            </a: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400327A0-5F4A-0960-6585-10AA059E1E91}"/>
              </a:ext>
            </a:extLst>
          </p:cNvPr>
          <p:cNvGrpSpPr/>
          <p:nvPr/>
        </p:nvGrpSpPr>
        <p:grpSpPr>
          <a:xfrm>
            <a:off x="5762866" y="1152169"/>
            <a:ext cx="2646778" cy="4268343"/>
            <a:chOff x="0" y="0"/>
            <a:chExt cx="1003777" cy="1412989"/>
          </a:xfrm>
          <a:solidFill>
            <a:srgbClr val="90292A"/>
          </a:solidFill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BF05609E-813F-E063-57D4-871DEF83C936}"/>
                </a:ext>
              </a:extLst>
            </p:cNvPr>
            <p:cNvSpPr/>
            <p:nvPr/>
          </p:nvSpPr>
          <p:spPr>
            <a:xfrm>
              <a:off x="0" y="0"/>
              <a:ext cx="1003777" cy="1412989"/>
            </a:xfrm>
            <a:custGeom>
              <a:avLst/>
              <a:gdLst/>
              <a:ahLst/>
              <a:cxnLst/>
              <a:rect l="l" t="t" r="r" b="b"/>
              <a:pathLst>
                <a:path w="1003777" h="1412989">
                  <a:moveTo>
                    <a:pt x="0" y="0"/>
                  </a:moveTo>
                  <a:lnTo>
                    <a:pt x="1003777" y="0"/>
                  </a:lnTo>
                  <a:lnTo>
                    <a:pt x="1003777" y="1412989"/>
                  </a:lnTo>
                  <a:lnTo>
                    <a:pt x="0" y="1412989"/>
                  </a:lnTo>
                  <a:close/>
                </a:path>
              </a:pathLst>
            </a:custGeom>
            <a:grpFill/>
          </p:spPr>
        </p:sp>
      </p:grpSp>
      <p:sp>
        <p:nvSpPr>
          <p:cNvPr id="9" name="TextBox 11">
            <a:extLst>
              <a:ext uri="{FF2B5EF4-FFF2-40B4-BE49-F238E27FC236}">
                <a16:creationId xmlns:a16="http://schemas.microsoft.com/office/drawing/2014/main" id="{967FE599-D1E8-0C7E-8E95-E3FBEAE6355A}"/>
              </a:ext>
            </a:extLst>
          </p:cNvPr>
          <p:cNvSpPr txBox="1"/>
          <p:nvPr/>
        </p:nvSpPr>
        <p:spPr>
          <a:xfrm>
            <a:off x="5898805" y="2824376"/>
            <a:ext cx="2374900" cy="123110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>
              <a:lnSpc>
                <a:spcPts val="2400"/>
              </a:lnSpc>
              <a:defRPr/>
            </a:pPr>
            <a:r>
              <a:rPr lang="en-US" sz="2000" b="1" spc="48" dirty="0">
                <a:solidFill>
                  <a:schemeClr val="bg1"/>
                </a:solidFill>
                <a:latin typeface="Georgia" panose="02040502050405020303" pitchFamily="18" charset="0"/>
              </a:rPr>
              <a:t>Posting time is unique</a:t>
            </a:r>
          </a:p>
          <a:p>
            <a:pPr algn="ctr">
              <a:lnSpc>
                <a:spcPts val="2400"/>
              </a:lnSpc>
              <a:defRPr/>
            </a:pPr>
            <a:r>
              <a:rPr lang="en-US" sz="2000" b="1" spc="48" dirty="0">
                <a:solidFill>
                  <a:schemeClr val="bg1"/>
                </a:solidFill>
                <a:latin typeface="Georgia" panose="02040502050405020303" pitchFamily="18" charset="0"/>
              </a:rPr>
              <a:t>per business</a:t>
            </a:r>
          </a:p>
          <a:p>
            <a:pPr algn="ctr">
              <a:lnSpc>
                <a:spcPts val="2400"/>
              </a:lnSpc>
              <a:defRPr/>
            </a:pPr>
            <a:r>
              <a:rPr lang="en-US" sz="2000" b="1" spc="48" dirty="0">
                <a:solidFill>
                  <a:schemeClr val="bg1"/>
                </a:solidFill>
                <a:latin typeface="Georgia" panose="02040502050405020303" pitchFamily="18" charset="0"/>
              </a:rPr>
              <a:t>and industry</a:t>
            </a:r>
          </a:p>
        </p:txBody>
      </p:sp>
      <p:sp>
        <p:nvSpPr>
          <p:cNvPr id="10" name="TextBox 12">
            <a:extLst>
              <a:ext uri="{FF2B5EF4-FFF2-40B4-BE49-F238E27FC236}">
                <a16:creationId xmlns:a16="http://schemas.microsoft.com/office/drawing/2014/main" id="{05BBB787-2659-8D9E-21E8-5E26F3E2ADBB}"/>
              </a:ext>
            </a:extLst>
          </p:cNvPr>
          <p:cNvSpPr txBox="1"/>
          <p:nvPr/>
        </p:nvSpPr>
        <p:spPr>
          <a:xfrm>
            <a:off x="7267575" y="6637338"/>
            <a:ext cx="1581150" cy="213776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>
              <a:lnSpc>
                <a:spcPts val="1800"/>
              </a:lnSpc>
              <a:defRPr/>
            </a:pPr>
            <a:r>
              <a:rPr lang="en-US" sz="1200" spc="36">
                <a:solidFill>
                  <a:srgbClr val="FFFFFF"/>
                </a:solidFill>
                <a:latin typeface="Nexa Light"/>
              </a:rPr>
              <a:t>Source: hootsuite.com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1">
            <a:extLst>
              <a:ext uri="{FF2B5EF4-FFF2-40B4-BE49-F238E27FC236}">
                <a16:creationId xmlns:a16="http://schemas.microsoft.com/office/drawing/2014/main" id="{72B3127B-6BE2-0103-A6EF-54AF171B07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12127" y="472633"/>
            <a:ext cx="6172200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Automated Responses in Facebook Messenger</a:t>
            </a:r>
          </a:p>
        </p:txBody>
      </p:sp>
      <p:pic>
        <p:nvPicPr>
          <p:cNvPr id="186370" name="Picture 2">
            <a:extLst>
              <a:ext uri="{FF2B5EF4-FFF2-40B4-BE49-F238E27FC236}">
                <a16:creationId xmlns:a16="http://schemas.microsoft.com/office/drawing/2014/main" id="{59AF6AD4-FD05-A251-3250-5394D2E48C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708944" y="1295400"/>
            <a:ext cx="6488113" cy="446563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1">
            <a:extLst>
              <a:ext uri="{FF2B5EF4-FFF2-40B4-BE49-F238E27FC236}">
                <a16:creationId xmlns:a16="http://schemas.microsoft.com/office/drawing/2014/main" id="{180C024E-1F37-D3B5-A992-28A31C69C57C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0599" y="819647"/>
            <a:ext cx="5672594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b="1" dirty="0">
                <a:solidFill>
                  <a:srgbClr val="9029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 Custom Keywords and Messag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A74AEFA-046E-5E99-3D00-3C8624BD4B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90600" y="1492924"/>
            <a:ext cx="7689850" cy="38721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4">
            <a:extLst>
              <a:ext uri="{FF2B5EF4-FFF2-40B4-BE49-F238E27FC236}">
                <a16:creationId xmlns:a16="http://schemas.microsoft.com/office/drawing/2014/main" id="{8F2CA594-6B7C-0725-F5C1-BF17A93DD0E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066801" y="2849135"/>
            <a:ext cx="6757987" cy="1169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osting/scheduling posts on Facebook and Instagram</a:t>
            </a:r>
          </a:p>
          <a:p>
            <a:pPr>
              <a:spcBef>
                <a:spcPct val="0"/>
              </a:spcBef>
            </a:pPr>
            <a:r>
              <a:rPr lang="en-US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Community management – replying to people’s comments and messages</a:t>
            </a:r>
          </a:p>
          <a:p>
            <a:pPr>
              <a:spcBef>
                <a:spcPct val="0"/>
              </a:spcBef>
            </a:pPr>
            <a:r>
              <a:rPr lang="en-US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Manage Instagram’s comments and messages</a:t>
            </a:r>
          </a:p>
          <a:p>
            <a:pPr>
              <a:spcBef>
                <a:spcPct val="0"/>
              </a:spcBef>
            </a:pPr>
            <a:r>
              <a:rPr lang="en-US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Page insights</a:t>
            </a:r>
          </a:p>
          <a:p>
            <a:pPr>
              <a:spcBef>
                <a:spcPct val="0"/>
              </a:spcBef>
            </a:pPr>
            <a:r>
              <a:rPr lang="en-US" altLang="en-US" sz="1400" dirty="0">
                <a:latin typeface="Arial" panose="020B0604020202020204" pitchFamily="34" charset="0"/>
                <a:cs typeface="Arial" panose="020B0604020202020204" pitchFamily="34" charset="0"/>
              </a:rPr>
              <a:t>Reply to people’s reviews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37A59FF-CEB3-C1D4-9A33-37F2660F5C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1" y="854847"/>
            <a:ext cx="7215187" cy="1643104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907232DE-ED37-C054-F4DD-5DED528BDDA9}"/>
              </a:ext>
            </a:extLst>
          </p:cNvPr>
          <p:cNvCxnSpPr>
            <a:cxnSpLocks/>
          </p:cNvCxnSpPr>
          <p:nvPr/>
        </p:nvCxnSpPr>
        <p:spPr>
          <a:xfrm flipV="1">
            <a:off x="1066801" y="5181600"/>
            <a:ext cx="7062787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D644D03-9261-CBA0-46E2-6446BF3186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2794" y="1404938"/>
            <a:ext cx="2370138" cy="42354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2D55C09C-5DDA-8D77-D033-233D9879CE7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9169" y="1404938"/>
            <a:ext cx="2363788" cy="42354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DBDDF6D-7669-D951-1738-6648C448CB9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75219" y="1404938"/>
            <a:ext cx="2376488" cy="42672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to 15" hidden="1">
            <a:extLst>
              <a:ext uri="{FF2B5EF4-FFF2-40B4-BE49-F238E27FC236}">
                <a16:creationId xmlns:a16="http://schemas.microsoft.com/office/drawing/2014/main" id="{CCC5A2DA-1127-4387-888B-E3BFF44543C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90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Diapositiva de think-cell" r:id="rId4" imgW="353" imgH="353" progId="TCLayout.ActiveDocument.1">
                  <p:embed/>
                </p:oleObj>
              </mc:Choice>
              <mc:Fallback>
                <p:oleObj name="Diapositiva de think-cell" r:id="rId4" imgW="353" imgH="353" progId="TCLayout.ActiveDocument.1">
                  <p:embed/>
                  <p:pic>
                    <p:nvPicPr>
                      <p:cNvPr id="16" name="Objeto 15" hidden="1">
                        <a:extLst>
                          <a:ext uri="{FF2B5EF4-FFF2-40B4-BE49-F238E27FC236}">
                            <a16:creationId xmlns:a16="http://schemas.microsoft.com/office/drawing/2014/main" id="{CCC5A2DA-1127-4387-888B-E3BFF44543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0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ángulo 3">
            <a:extLst>
              <a:ext uri="{FF2B5EF4-FFF2-40B4-BE49-F238E27FC236}">
                <a16:creationId xmlns:a16="http://schemas.microsoft.com/office/drawing/2014/main" id="{7A9AC744-B90A-4A9C-A5F4-611AE7CCD866}"/>
              </a:ext>
            </a:extLst>
          </p:cNvPr>
          <p:cNvSpPr/>
          <p:nvPr/>
        </p:nvSpPr>
        <p:spPr>
          <a:xfrm>
            <a:off x="3137200" y="3136612"/>
            <a:ext cx="363159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21014574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B51071B7-9A35-4887-AB94-CF231170E501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048513" y="3094338"/>
            <a:ext cx="7429500" cy="669323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z="2800" b="1" dirty="0">
                <a:solidFill>
                  <a:srgbClr val="90292A"/>
                </a:solidFill>
                <a:latin typeface="Georgia" panose="02040502050405020303" pitchFamily="18" charset="0"/>
              </a:rPr>
              <a:t>Setting up a Facebook page</a:t>
            </a:r>
            <a:endParaRPr lang="en-GB" sz="2800" b="1" i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4AA9B68D-F340-47CC-A3B9-F73D9C2A19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0857" y="1609208"/>
            <a:ext cx="1544285" cy="15442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90045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FE1C6040-AFEA-4C12-8C3A-3407CAF93398}"/>
              </a:ext>
            </a:extLst>
          </p:cNvPr>
          <p:cNvSpPr txBox="1"/>
          <p:nvPr/>
        </p:nvSpPr>
        <p:spPr>
          <a:xfrm>
            <a:off x="1275644" y="2767280"/>
            <a:ext cx="6838223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2" indent="-185732">
              <a:buFont typeface="Arial" panose="020B0604020202020204" pitchFamily="34" charset="0"/>
              <a:buChar char="•"/>
            </a:pPr>
            <a:r>
              <a:rPr lang="en-US" sz="1400" dirty="0">
                <a:latin typeface="Arial"/>
                <a:cs typeface="Arial"/>
              </a:rPr>
              <a:t>Most visited social media platform</a:t>
            </a:r>
          </a:p>
          <a:p>
            <a:pPr marL="185732" indent="-185732">
              <a:buFont typeface="Arial" panose="020B0604020202020204" pitchFamily="34" charset="0"/>
              <a:buChar char="•"/>
            </a:pPr>
            <a:r>
              <a:rPr lang="en-US" sz="1400" dirty="0">
                <a:latin typeface="Arial"/>
                <a:cs typeface="Arial"/>
              </a:rPr>
              <a:t>Most active social media site that exists</a:t>
            </a:r>
          </a:p>
          <a:p>
            <a:pPr marL="185732" indent="-185732">
              <a:buFont typeface="Arial" panose="020B0604020202020204" pitchFamily="34" charset="0"/>
              <a:buChar char="•"/>
            </a:pPr>
            <a:r>
              <a:rPr lang="en-US" sz="1400" dirty="0">
                <a:latin typeface="Arial"/>
                <a:cs typeface="Arial"/>
              </a:rPr>
              <a:t>Over a billion active users a month</a:t>
            </a:r>
          </a:p>
          <a:p>
            <a:pPr marL="185732" indent="-185732">
              <a:buFont typeface="Arial" panose="020B0604020202020204" pitchFamily="34" charset="0"/>
              <a:buChar char="•"/>
            </a:pPr>
            <a:endParaRPr lang="en-US" sz="1400" dirty="0">
              <a:latin typeface="Arial"/>
              <a:cs typeface="Arial"/>
            </a:endParaRPr>
          </a:p>
          <a:p>
            <a:r>
              <a:rPr lang="en-US" sz="1400" i="1" dirty="0">
                <a:latin typeface="Arial"/>
                <a:cs typeface="Arial"/>
              </a:rPr>
              <a:t>Finding the perfect audience for your business is easier on Facebook </a:t>
            </a:r>
          </a:p>
        </p:txBody>
      </p:sp>
      <p:sp>
        <p:nvSpPr>
          <p:cNvPr id="5" name="Título 1">
            <a:extLst>
              <a:ext uri="{FF2B5EF4-FFF2-40B4-BE49-F238E27FC236}">
                <a16:creationId xmlns:a16="http://schemas.microsoft.com/office/drawing/2014/main" id="{F3556FA7-47D1-4DF4-A8BF-75344C932D6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38250" y="2014782"/>
            <a:ext cx="7429500" cy="669925"/>
          </a:xfrm>
          <a:prstGeom prst="rect">
            <a:avLst/>
          </a:prstGeom>
        </p:spPr>
        <p:txBody>
          <a:bodyPr/>
          <a:lstStyle/>
          <a:p>
            <a:pPr algn="l"/>
            <a:r>
              <a:rPr lang="en-US" sz="2000" b="1" dirty="0">
                <a:solidFill>
                  <a:srgbClr val="90292A"/>
                </a:solidFill>
                <a:latin typeface="Georgia" panose="02040502050405020303" pitchFamily="18" charset="0"/>
              </a:rPr>
              <a:t>Why Facebook Marketing? </a:t>
            </a:r>
            <a:endParaRPr lang="en-GB" sz="2000" b="1" i="1" dirty="0">
              <a:solidFill>
                <a:srgbClr val="90292A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04653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22CC4A63-A8D5-4327-8681-D69AC53F2CAF}"/>
              </a:ext>
            </a:extLst>
          </p:cNvPr>
          <p:cNvSpPr txBox="1"/>
          <p:nvPr/>
        </p:nvSpPr>
        <p:spPr>
          <a:xfrm>
            <a:off x="4758608" y="2959667"/>
            <a:ext cx="4894042" cy="938667"/>
          </a:xfrm>
          <a:prstGeom prst="rect">
            <a:avLst/>
          </a:prstGeom>
        </p:spPr>
        <p:txBody>
          <a:bodyPr>
            <a:normAutofit/>
          </a:bodyPr>
          <a:lstStyle>
            <a:lvl1pPr indent="0" algn="ctr">
              <a:spcBef>
                <a:spcPct val="20000"/>
              </a:spcBef>
              <a:buFont typeface="Arial"/>
              <a:buNone/>
              <a:defRPr sz="1200" b="1">
                <a:latin typeface="Arial"/>
                <a:cs typeface="Arial"/>
              </a:defRPr>
            </a:lvl1pPr>
            <a:lvl2pPr marL="742950" indent="-285750">
              <a:spcBef>
                <a:spcPct val="20000"/>
              </a:spcBef>
              <a:buFont typeface="Arial"/>
              <a:buChar char="–"/>
              <a:defRPr sz="2800"/>
            </a:lvl2pPr>
            <a:lvl3pPr marL="1143000" indent="-228600">
              <a:spcBef>
                <a:spcPct val="20000"/>
              </a:spcBef>
              <a:buFont typeface="Arial"/>
              <a:buChar char="•"/>
              <a:defRPr sz="2400"/>
            </a:lvl3pPr>
            <a:lvl4pPr marL="1600200" indent="-228600">
              <a:spcBef>
                <a:spcPct val="20000"/>
              </a:spcBef>
              <a:buFont typeface="Arial"/>
              <a:buChar char="–"/>
              <a:defRPr sz="2000"/>
            </a:lvl4pPr>
            <a:lvl5pPr marL="2057400" indent="-228600">
              <a:spcBef>
                <a:spcPct val="20000"/>
              </a:spcBef>
              <a:buFont typeface="Arial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185732" indent="-185732" algn="l">
              <a:buFont typeface="Arial" panose="020B0604020202020204" pitchFamily="34" charset="0"/>
              <a:buChar char="•"/>
            </a:pPr>
            <a:endParaRPr lang="en-US" sz="1300" b="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1C6040-AFEA-4C12-8C3A-3407CAF93398}"/>
              </a:ext>
            </a:extLst>
          </p:cNvPr>
          <p:cNvSpPr txBox="1"/>
          <p:nvPr/>
        </p:nvSpPr>
        <p:spPr>
          <a:xfrm>
            <a:off x="4953000" y="3181350"/>
            <a:ext cx="350806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5732" indent="-185732"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From your personal profile, click on </a:t>
            </a: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Menu - Create - Pa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E67A3B6-D606-5EB4-481E-A3DCFB8331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19959" y="1530872"/>
            <a:ext cx="2440487" cy="44089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6850919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974872C-5204-79E3-DCEF-71465C6ACA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2309" y="2201563"/>
            <a:ext cx="6707121" cy="32879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387" name="Rectangle 1">
            <a:extLst>
              <a:ext uri="{FF2B5EF4-FFF2-40B4-BE49-F238E27FC236}">
                <a16:creationId xmlns:a16="http://schemas.microsoft.com/office/drawing/2014/main" id="{5F6D99BA-562C-AFB0-D108-F75AF1DEAE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500933" y="1500693"/>
            <a:ext cx="716280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Complete the Initial Setup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Rectangle 1">
            <a:extLst>
              <a:ext uri="{FF2B5EF4-FFF2-40B4-BE49-F238E27FC236}">
                <a16:creationId xmlns:a16="http://schemas.microsoft.com/office/drawing/2014/main" id="{5F6D99BA-562C-AFB0-D108-F75AF1DEAE9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0550" y="3223736"/>
            <a:ext cx="367665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en-US" alt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Professional Dashboar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DE4ED3A-F523-D94A-FAAE-21DD926CF1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0600" y="1228726"/>
            <a:ext cx="3676650" cy="46386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2CC7C3C-9D35-48E0-47FA-4FCE80649154}"/>
              </a:ext>
            </a:extLst>
          </p:cNvPr>
          <p:cNvSpPr/>
          <p:nvPr/>
        </p:nvSpPr>
        <p:spPr>
          <a:xfrm>
            <a:off x="5334000" y="2133600"/>
            <a:ext cx="1600200" cy="228600"/>
          </a:xfrm>
          <a:prstGeom prst="rect">
            <a:avLst/>
          </a:prstGeom>
          <a:solidFill>
            <a:srgbClr val="E8E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78D3FFD-8772-CB20-2D08-278F728476EE}"/>
              </a:ext>
            </a:extLst>
          </p:cNvPr>
          <p:cNvSpPr/>
          <p:nvPr/>
        </p:nvSpPr>
        <p:spPr>
          <a:xfrm>
            <a:off x="4972050" y="2036802"/>
            <a:ext cx="228600" cy="369332"/>
          </a:xfrm>
          <a:prstGeom prst="rect">
            <a:avLst/>
          </a:prstGeom>
          <a:solidFill>
            <a:srgbClr val="E8E9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E"/>
          </a:p>
        </p:txBody>
      </p:sp>
    </p:spTree>
    <p:extLst>
      <p:ext uri="{BB962C8B-B14F-4D97-AF65-F5344CB8AC3E}">
        <p14:creationId xmlns:p14="http://schemas.microsoft.com/office/powerpoint/2010/main" val="42397332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7B363A0-7F2B-7D8B-55BC-1C3AFD0C80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09800" y="457200"/>
            <a:ext cx="2271844" cy="56388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1C412AA-56E2-2E99-3A0F-6578CE46E82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3001" y="1524001"/>
            <a:ext cx="2618469" cy="33051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350780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1C457C2-2AAF-9B7E-3236-E2ECF19FBF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762000"/>
            <a:ext cx="8382000" cy="43010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FD533A1-351E-F34B-EAA2-4DB843C819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1200" y="4724401"/>
            <a:ext cx="1740208" cy="17621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5671129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8DDBB90-032C-3EFA-D2C4-048154F29A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" y="1289833"/>
            <a:ext cx="7851862" cy="3774694"/>
          </a:xfrm>
          <a:prstGeom prst="rect">
            <a:avLst/>
          </a:prstGeom>
        </p:spPr>
      </p:pic>
      <p:sp>
        <p:nvSpPr>
          <p:cNvPr id="4" name="Rectangle 1">
            <a:extLst>
              <a:ext uri="{FF2B5EF4-FFF2-40B4-BE49-F238E27FC236}">
                <a16:creationId xmlns:a16="http://schemas.microsoft.com/office/drawing/2014/main" id="{06EE6DC6-0DE5-C22E-F0B1-0BC26F4E54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9600" y="774887"/>
            <a:ext cx="4916557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</a:pPr>
            <a:r>
              <a:rPr lang="en-US" altLang="en-US" sz="2000" b="1" dirty="0">
                <a:solidFill>
                  <a:srgbClr val="90292A"/>
                </a:solidFill>
                <a:latin typeface="Georgia" panose="02040502050405020303" pitchFamily="18" charset="0"/>
                <a:cs typeface="Arial" panose="020B0604020202020204" pitchFamily="34" charset="0"/>
              </a:rPr>
              <a:t>Understand the Meta Business Suite</a:t>
            </a:r>
          </a:p>
        </p:txBody>
      </p:sp>
    </p:spTree>
    <p:extLst>
      <p:ext uri="{BB962C8B-B14F-4D97-AF65-F5344CB8AC3E}">
        <p14:creationId xmlns:p14="http://schemas.microsoft.com/office/powerpoint/2010/main" val="15587766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Rojo naranja">
      <a:dk1>
        <a:sysClr val="windowText" lastClr="000000"/>
      </a:dk1>
      <a:lt1>
        <a:sysClr val="window" lastClr="FFFFFF"/>
      </a:lt1>
      <a:dk2>
        <a:srgbClr val="505046"/>
      </a:dk2>
      <a:lt2>
        <a:srgbClr val="EEECE1"/>
      </a:lt2>
      <a:accent1>
        <a:srgbClr val="E84C22"/>
      </a:accent1>
      <a:accent2>
        <a:srgbClr val="FFBD47"/>
      </a:accent2>
      <a:accent3>
        <a:srgbClr val="B64926"/>
      </a:accent3>
      <a:accent4>
        <a:srgbClr val="FF8427"/>
      </a:accent4>
      <a:accent5>
        <a:srgbClr val="CC9900"/>
      </a:accent5>
      <a:accent6>
        <a:srgbClr val="B22600"/>
      </a:accent6>
      <a:hlink>
        <a:srgbClr val="CC9900"/>
      </a:hlink>
      <a:folHlink>
        <a:srgbClr val="66669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27C33CFCA74046A0A633136646FD5F" ma:contentTypeVersion="20" ma:contentTypeDescription="Create a new document." ma:contentTypeScope="" ma:versionID="d0a4f56e1333b37715db1ca526836c42">
  <xsd:schema xmlns:xsd="http://www.w3.org/2001/XMLSchema" xmlns:xs="http://www.w3.org/2001/XMLSchema" xmlns:p="http://schemas.microsoft.com/office/2006/metadata/properties" xmlns:ns2="fac5c5d6-3f40-4888-827f-2feba602e379" xmlns:ns3="0323e3e7-18dc-45e6-99d2-53fab8d99a6d" targetNamespace="http://schemas.microsoft.com/office/2006/metadata/properties" ma:root="true" ma:fieldsID="f81d95c457976425973bde8a22d6186a" ns2:_="" ns3:_="">
    <xsd:import namespace="fac5c5d6-3f40-4888-827f-2feba602e379"/>
    <xsd:import namespace="0323e3e7-18dc-45e6-99d2-53fab8d99a6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3:SharedWithUsers" minOccurs="0"/>
                <xsd:element ref="ns2:rzni" minOccurs="0"/>
                <xsd:element ref="ns2:f0ly" minOccurs="0"/>
                <xsd:element ref="ns3:SharedWithDetails" minOccurs="0"/>
                <xsd:element ref="ns2:MediaServiceAutoTags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5c5d6-3f40-4888-827f-2feba602e37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rzni" ma:index="12" nillable="true" ma:displayName="Date and Time" ma:internalName="rzni">
      <xsd:simpleType>
        <xsd:restriction base="dms:DateTime"/>
      </xsd:simpleType>
    </xsd:element>
    <xsd:element name="f0ly" ma:index="13" nillable="true" ma:displayName="Person or Group" ma:list="UserInfo" ma:internalName="f0ly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c820fac2-d059-4130-98b8-bcc963ebf00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23e3e7-18dc-45e6-99d2-53fab8d99a6d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dc906492-6d0e-4e26-b089-5965b0bba648}" ma:internalName="TaxCatchAll" ma:showField="CatchAllData" ma:web="0323e3e7-18dc-45e6-99d2-53fab8d99a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rzni xmlns="fac5c5d6-3f40-4888-827f-2feba602e379" xsi:nil="true"/>
    <f0ly xmlns="fac5c5d6-3f40-4888-827f-2feba602e379">
      <UserInfo>
        <DisplayName/>
        <AccountId xsi:nil="true"/>
        <AccountType/>
      </UserInfo>
    </f0ly>
    <SharedWithUsers xmlns="0323e3e7-18dc-45e6-99d2-53fab8d99a6d">
      <UserInfo>
        <DisplayName/>
        <AccountId xsi:nil="true"/>
        <AccountType/>
      </UserInfo>
    </SharedWithUsers>
    <lcf76f155ced4ddcb4097134ff3c332f xmlns="fac5c5d6-3f40-4888-827f-2feba602e379">
      <Terms xmlns="http://schemas.microsoft.com/office/infopath/2007/PartnerControls"/>
    </lcf76f155ced4ddcb4097134ff3c332f>
    <TaxCatchAll xmlns="0323e3e7-18dc-45e6-99d2-53fab8d99a6d" xsi:nil="true"/>
  </documentManagement>
</p:properties>
</file>

<file path=customXml/itemProps1.xml><?xml version="1.0" encoding="utf-8"?>
<ds:datastoreItem xmlns:ds="http://schemas.openxmlformats.org/officeDocument/2006/customXml" ds:itemID="{8F1337FF-037B-4E2E-AB49-B00D5861AD9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ac5c5d6-3f40-4888-827f-2feba602e379"/>
    <ds:schemaRef ds:uri="0323e3e7-18dc-45e6-99d2-53fab8d99a6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C80F207-BEB7-4D04-B584-A93E77C9D2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C677089-0F61-4A3B-827B-C13FC83C6673}">
  <ds:schemaRefs>
    <ds:schemaRef ds:uri="0323e3e7-18dc-45e6-99d2-53fab8d99a6d"/>
    <ds:schemaRef ds:uri="fac5c5d6-3f40-4888-827f-2feba602e379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2</TotalTime>
  <Words>184</Words>
  <Application>Microsoft Office PowerPoint</Application>
  <PresentationFormat>A4 Paper (210x297 mm)</PresentationFormat>
  <Paragraphs>38</Paragraphs>
  <Slides>1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Arial</vt:lpstr>
      <vt:lpstr>Calibri</vt:lpstr>
      <vt:lpstr>Georgia</vt:lpstr>
      <vt:lpstr>Nexa Light</vt:lpstr>
      <vt:lpstr>Tema de Office</vt:lpstr>
      <vt:lpstr>Diapositiva de think-cell</vt:lpstr>
      <vt:lpstr>PowerPoint Presentation</vt:lpstr>
      <vt:lpstr>Setting up a Facebook page</vt:lpstr>
      <vt:lpstr>Why Facebook Marketing?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Ester Benedit Martínez</dc:creator>
  <cp:lastModifiedBy>Charlene Naidoo</cp:lastModifiedBy>
  <cp:revision>18</cp:revision>
  <dcterms:created xsi:type="dcterms:W3CDTF">2016-07-11T04:31:49Z</dcterms:created>
  <dcterms:modified xsi:type="dcterms:W3CDTF">2023-12-07T07:02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627C33CFCA74046A0A633136646FD5F</vt:lpwstr>
  </property>
  <property fmtid="{D5CDD505-2E9C-101B-9397-08002B2CF9AE}" pid="3" name="Order">
    <vt:r8>10326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TemplateUrl">
    <vt:lpwstr/>
  </property>
  <property fmtid="{D5CDD505-2E9C-101B-9397-08002B2CF9AE}" pid="7" name="ComplianceAssetId">
    <vt:lpwstr/>
  </property>
</Properties>
</file>